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48" r:id="rId1"/>
  </p:sldMasterIdLst>
  <p:sldIdLst>
    <p:sldId id="256" r:id="rId2"/>
  </p:sldIdLst>
  <p:sldSz cx="7556500" cy="10693400"/>
  <p:notesSz cx="6858000" cy="9144000"/>
  <p:embeddedFontLst>
    <p:embeddedFont>
      <p:font typeface="DM Sans" pitchFamily="2" charset="0"/>
      <p:regular r:id="rId3"/>
      <p:bold r:id="rId4"/>
      <p:italic r:id="rId5"/>
      <p:boldItalic r:id="rId6"/>
    </p:embeddedFont>
    <p:embeddedFont>
      <p:font typeface="DM Sans Bold" pitchFamily="2" charset="0"/>
      <p:bold r:id="rId7"/>
    </p:embeddedFont>
    <p:embeddedFont>
      <p:font typeface="DM Sans SemiBold" pitchFamily="2" charset="0"/>
      <p:bold r:id="rId8"/>
      <p:boldItalic r:id="rId9"/>
    </p:embeddedFont>
    <p:embeddedFont>
      <p:font typeface="Fraunces 9pt Soft SemiBold" pitchFamily="2" charset="0"/>
      <p:bold r:id="rId10"/>
      <p:boldItalic r:id="rId11"/>
    </p:embeddedFont>
  </p:embeddedFont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 autoAdjust="0"/>
    <p:restoredTop sz="96081" autoAdjust="0"/>
  </p:normalViewPr>
  <p:slideViewPr>
    <p:cSldViewPr>
      <p:cViewPr>
        <p:scale>
          <a:sx n="25" d="100"/>
          <a:sy n="25" d="100"/>
        </p:scale>
        <p:origin x="3432" y="153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6.fntdata"/><Relationship Id="rId13" Type="http://schemas.openxmlformats.org/officeDocument/2006/relationships/viewProps" Target="viewProps.xml"/><Relationship Id="rId3" Type="http://schemas.openxmlformats.org/officeDocument/2006/relationships/font" Target="fonts/font1.fntdata"/><Relationship Id="rId7" Type="http://schemas.openxmlformats.org/officeDocument/2006/relationships/font" Target="fonts/font5.fntdata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4.fntdata"/><Relationship Id="rId11" Type="http://schemas.openxmlformats.org/officeDocument/2006/relationships/font" Target="fonts/font9.fntdata"/><Relationship Id="rId5" Type="http://schemas.openxmlformats.org/officeDocument/2006/relationships/font" Target="fonts/font3.fntdata"/><Relationship Id="rId15" Type="http://schemas.openxmlformats.org/officeDocument/2006/relationships/tableStyles" Target="tableStyles.xml"/><Relationship Id="rId10" Type="http://schemas.openxmlformats.org/officeDocument/2006/relationships/font" Target="fonts/font8.fntdata"/><Relationship Id="rId4" Type="http://schemas.openxmlformats.org/officeDocument/2006/relationships/font" Target="fonts/font2.fntdata"/><Relationship Id="rId9" Type="http://schemas.openxmlformats.org/officeDocument/2006/relationships/font" Target="fonts/font7.fntdata"/><Relationship Id="rId14" Type="http://schemas.openxmlformats.org/officeDocument/2006/relationships/theme" Target="theme/theme1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3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6" Type="http://schemas.openxmlformats.org/officeDocument/2006/relationships/image" Target="../media/image4.svg"/><Relationship Id="rId5" Type="http://schemas.openxmlformats.org/officeDocument/2006/relationships/image" Target="../media/image3.png"/><Relationship Id="rId4" Type="http://schemas.openxmlformats.org/officeDocument/2006/relationships/image" Target="../media/image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1604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" name="Group 1">
            <a:extLst>
              <a:ext uri="{FF2B5EF4-FFF2-40B4-BE49-F238E27FC236}">
                <a16:creationId xmlns:a16="http://schemas.microsoft.com/office/drawing/2014/main" id="{CC5DB5F7-F06D-43F9-F813-7C0B529CBB57}"/>
              </a:ext>
            </a:extLst>
          </p:cNvPr>
          <p:cNvGrpSpPr/>
          <p:nvPr/>
        </p:nvGrpSpPr>
        <p:grpSpPr>
          <a:xfrm>
            <a:off x="341060" y="421639"/>
            <a:ext cx="7067694" cy="9927552"/>
            <a:chOff x="341060" y="421639"/>
            <a:chExt cx="7067694" cy="9927552"/>
          </a:xfrm>
        </p:grpSpPr>
        <p:grpSp>
          <p:nvGrpSpPr>
            <p:cNvPr id="57" name="Group 56">
              <a:extLst>
                <a:ext uri="{FF2B5EF4-FFF2-40B4-BE49-F238E27FC236}">
                  <a16:creationId xmlns:a16="http://schemas.microsoft.com/office/drawing/2014/main" id="{B674DD8D-493A-CE5A-C681-F6645A45F5F5}"/>
                </a:ext>
              </a:extLst>
            </p:cNvPr>
            <p:cNvGrpSpPr/>
            <p:nvPr/>
          </p:nvGrpSpPr>
          <p:grpSpPr>
            <a:xfrm>
              <a:off x="341060" y="2427664"/>
              <a:ext cx="6874380" cy="7921524"/>
              <a:chOff x="341060" y="2427664"/>
              <a:chExt cx="6874380" cy="7921524"/>
            </a:xfrm>
          </p:grpSpPr>
          <p:sp>
            <p:nvSpPr>
              <p:cNvPr id="9" name="Freeform 9"/>
              <p:cNvSpPr/>
              <p:nvPr/>
            </p:nvSpPr>
            <p:spPr>
              <a:xfrm>
                <a:off x="341060" y="2427664"/>
                <a:ext cx="6874380" cy="7921524"/>
              </a:xfrm>
              <a:custGeom>
                <a:avLst/>
                <a:gdLst/>
                <a:ahLst/>
                <a:cxnLst/>
                <a:rect l="l" t="t" r="r" b="b"/>
                <a:pathLst>
                  <a:path w="2463623" h="2838896">
                    <a:moveTo>
                      <a:pt x="0" y="0"/>
                    </a:moveTo>
                    <a:lnTo>
                      <a:pt x="2463623" y="0"/>
                    </a:lnTo>
                    <a:lnTo>
                      <a:pt x="2463623" y="2838896"/>
                    </a:lnTo>
                    <a:lnTo>
                      <a:pt x="0" y="2838896"/>
                    </a:lnTo>
                    <a:close/>
                  </a:path>
                </a:pathLst>
              </a:custGeom>
              <a:solidFill>
                <a:srgbClr val="FFFFFF"/>
              </a:solidFill>
              <a:ln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1" name="AutoShape 11"/>
              <p:cNvSpPr/>
              <p:nvPr/>
            </p:nvSpPr>
            <p:spPr>
              <a:xfrm>
                <a:off x="341060" y="3630178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2" name="AutoShape 12"/>
              <p:cNvSpPr/>
              <p:nvPr/>
            </p:nvSpPr>
            <p:spPr>
              <a:xfrm>
                <a:off x="341060" y="4190095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3" name="AutoShape 13"/>
              <p:cNvSpPr/>
              <p:nvPr/>
            </p:nvSpPr>
            <p:spPr>
              <a:xfrm>
                <a:off x="341060" y="4750012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4" name="AutoShape 14"/>
              <p:cNvSpPr/>
              <p:nvPr/>
            </p:nvSpPr>
            <p:spPr>
              <a:xfrm>
                <a:off x="341060" y="5309929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5" name="AutoShape 15"/>
              <p:cNvSpPr/>
              <p:nvPr/>
            </p:nvSpPr>
            <p:spPr>
              <a:xfrm>
                <a:off x="341060" y="5869846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6" name="AutoShape 16"/>
              <p:cNvSpPr/>
              <p:nvPr/>
            </p:nvSpPr>
            <p:spPr>
              <a:xfrm>
                <a:off x="341060" y="6989680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7" name="AutoShape 17"/>
              <p:cNvSpPr/>
              <p:nvPr/>
            </p:nvSpPr>
            <p:spPr>
              <a:xfrm>
                <a:off x="341060" y="7549597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8" name="AutoShape 18"/>
              <p:cNvSpPr/>
              <p:nvPr/>
            </p:nvSpPr>
            <p:spPr>
              <a:xfrm>
                <a:off x="341060" y="8109514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19" name="AutoShape 19"/>
              <p:cNvSpPr/>
              <p:nvPr/>
            </p:nvSpPr>
            <p:spPr>
              <a:xfrm>
                <a:off x="341060" y="8669431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0" name="AutoShape 20"/>
              <p:cNvSpPr/>
              <p:nvPr/>
            </p:nvSpPr>
            <p:spPr>
              <a:xfrm>
                <a:off x="341060" y="9229348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1" name="AutoShape 21"/>
              <p:cNvSpPr/>
              <p:nvPr/>
            </p:nvSpPr>
            <p:spPr>
              <a:xfrm>
                <a:off x="341060" y="9789265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2" name="AutoShape 22"/>
              <p:cNvSpPr/>
              <p:nvPr/>
            </p:nvSpPr>
            <p:spPr>
              <a:xfrm>
                <a:off x="341060" y="6429763"/>
                <a:ext cx="6874380" cy="0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3" name="AutoShape 23"/>
              <p:cNvSpPr/>
              <p:nvPr/>
            </p:nvSpPr>
            <p:spPr>
              <a:xfrm flipH="1" flipV="1">
                <a:off x="2063786" y="2427664"/>
                <a:ext cx="0" cy="7921524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4" name="AutoShape 24"/>
              <p:cNvSpPr/>
              <p:nvPr/>
            </p:nvSpPr>
            <p:spPr>
              <a:xfrm flipV="1">
                <a:off x="5496214" y="2427664"/>
                <a:ext cx="0" cy="7921524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5" name="AutoShape 25"/>
              <p:cNvSpPr/>
              <p:nvPr/>
            </p:nvSpPr>
            <p:spPr>
              <a:xfrm flipV="1">
                <a:off x="4305344" y="2427664"/>
                <a:ext cx="0" cy="7921524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7" name="Freeform 27"/>
              <p:cNvSpPr/>
              <p:nvPr/>
            </p:nvSpPr>
            <p:spPr>
              <a:xfrm>
                <a:off x="341060" y="2427664"/>
                <a:ext cx="6874380" cy="642597"/>
              </a:xfrm>
              <a:custGeom>
                <a:avLst/>
                <a:gdLst/>
                <a:ahLst/>
                <a:cxnLst/>
                <a:rect l="l" t="t" r="r" b="b"/>
                <a:pathLst>
                  <a:path w="2463623" h="230292">
                    <a:moveTo>
                      <a:pt x="0" y="0"/>
                    </a:moveTo>
                    <a:lnTo>
                      <a:pt x="2463623" y="0"/>
                    </a:lnTo>
                    <a:lnTo>
                      <a:pt x="2463623" y="230292"/>
                    </a:lnTo>
                    <a:lnTo>
                      <a:pt x="0" y="230292"/>
                    </a:lnTo>
                    <a:close/>
                  </a:path>
                </a:pathLst>
              </a:custGeom>
              <a:solidFill>
                <a:srgbClr val="FFF5B2"/>
              </a:solidFill>
              <a:ln w="9525" cap="sq">
                <a:noFill/>
                <a:prstDash val="solid"/>
                <a:miter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29" name="TextBox 29"/>
              <p:cNvSpPr txBox="1"/>
              <p:nvPr/>
            </p:nvSpPr>
            <p:spPr>
              <a:xfrm>
                <a:off x="759952" y="2663330"/>
                <a:ext cx="884942" cy="171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u="none" strike="noStrike" dirty="0">
                    <a:solidFill>
                      <a:srgbClr val="01604D"/>
                    </a:solidFill>
                    <a:latin typeface="DM Sans SemiBold" pitchFamily="2" charset="0"/>
                  </a:rPr>
                  <a:t>NAME</a:t>
                </a:r>
              </a:p>
            </p:txBody>
          </p:sp>
          <p:sp>
            <p:nvSpPr>
              <p:cNvPr id="30" name="TextBox 30"/>
              <p:cNvSpPr txBox="1"/>
              <p:nvPr/>
            </p:nvSpPr>
            <p:spPr>
              <a:xfrm>
                <a:off x="2639879" y="2663330"/>
                <a:ext cx="1089372" cy="171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dirty="0">
                    <a:solidFill>
                      <a:srgbClr val="01604D"/>
                    </a:solidFill>
                    <a:latin typeface="DM Sans SemiBold" pitchFamily="2" charset="0"/>
                  </a:rPr>
                  <a:t>DISH / ITEM</a:t>
                </a:r>
              </a:p>
            </p:txBody>
          </p:sp>
          <p:sp>
            <p:nvSpPr>
              <p:cNvPr id="31" name="TextBox 31"/>
              <p:cNvSpPr txBox="1"/>
              <p:nvPr/>
            </p:nvSpPr>
            <p:spPr>
              <a:xfrm>
                <a:off x="5847559" y="2663330"/>
                <a:ext cx="1016535" cy="171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dirty="0">
                    <a:solidFill>
                      <a:srgbClr val="01604D"/>
                    </a:solidFill>
                    <a:latin typeface="DM Sans SemiBold" pitchFamily="2" charset="0"/>
                  </a:rPr>
                  <a:t>CONTACT</a:t>
                </a:r>
              </a:p>
            </p:txBody>
          </p:sp>
          <p:sp>
            <p:nvSpPr>
              <p:cNvPr id="32" name="TextBox 32"/>
              <p:cNvSpPr txBox="1"/>
              <p:nvPr/>
            </p:nvSpPr>
            <p:spPr>
              <a:xfrm>
                <a:off x="4505086" y="2663330"/>
                <a:ext cx="791385" cy="171265"/>
              </a:xfrm>
              <a:prstGeom prst="rect">
                <a:avLst/>
              </a:prstGeom>
            </p:spPr>
            <p:txBody>
              <a:bodyPr lIns="0" tIns="0" rIns="0" bIns="0" rtlCol="0" anchor="t">
                <a:spAutoFit/>
              </a:bodyPr>
              <a:lstStyle/>
              <a:p>
                <a:pPr marL="0" lvl="0" indent="0" algn="ctr">
                  <a:lnSpc>
                    <a:spcPts val="1399"/>
                  </a:lnSpc>
                  <a:spcBef>
                    <a:spcPct val="0"/>
                  </a:spcBef>
                </a:pPr>
                <a:r>
                  <a:rPr lang="en-US" sz="999" dirty="0">
                    <a:solidFill>
                      <a:srgbClr val="01604D"/>
                    </a:solidFill>
                    <a:latin typeface="DM Sans SemiBold" pitchFamily="2" charset="0"/>
                  </a:rPr>
                  <a:t>QUANTITY</a:t>
                </a:r>
              </a:p>
            </p:txBody>
          </p:sp>
          <p:sp>
            <p:nvSpPr>
              <p:cNvPr id="33" name="AutoShape 33"/>
              <p:cNvSpPr/>
              <p:nvPr/>
            </p:nvSpPr>
            <p:spPr>
              <a:xfrm flipH="1" flipV="1">
                <a:off x="2063786" y="2427664"/>
                <a:ext cx="0" cy="642597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4" name="AutoShape 34"/>
              <p:cNvSpPr/>
              <p:nvPr/>
            </p:nvSpPr>
            <p:spPr>
              <a:xfrm flipV="1">
                <a:off x="4305344" y="2427664"/>
                <a:ext cx="0" cy="642597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  <p:sp>
            <p:nvSpPr>
              <p:cNvPr id="35" name="AutoShape 35"/>
              <p:cNvSpPr/>
              <p:nvPr/>
            </p:nvSpPr>
            <p:spPr>
              <a:xfrm flipV="1">
                <a:off x="5496214" y="2427664"/>
                <a:ext cx="0" cy="642597"/>
              </a:xfrm>
              <a:prstGeom prst="line">
                <a:avLst/>
              </a:prstGeom>
              <a:ln w="9525" cap="flat">
                <a:solidFill>
                  <a:srgbClr val="469064">
                    <a:alpha val="60000"/>
                  </a:srgbClr>
                </a:solidFill>
                <a:prstDash val="solid"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dirty="0"/>
              </a:p>
            </p:txBody>
          </p:sp>
        </p:grpSp>
        <p:sp>
          <p:nvSpPr>
            <p:cNvPr id="2" name="AutoShape 2"/>
            <p:cNvSpPr/>
            <p:nvPr/>
          </p:nvSpPr>
          <p:spPr>
            <a:xfrm>
              <a:off x="341060" y="2084855"/>
              <a:ext cx="6874380" cy="0"/>
            </a:xfrm>
            <a:prstGeom prst="line">
              <a:avLst/>
            </a:prstGeom>
            <a:ln w="9525" cap="flat">
              <a:solidFill>
                <a:srgbClr val="FFF5B2">
                  <a:alpha val="60000"/>
                </a:srgbClr>
              </a:solidFill>
              <a:prstDash val="solid"/>
              <a:headEnd type="none" w="sm" len="sm"/>
              <a:tailEnd type="none" w="sm" len="sm"/>
            </a:ln>
          </p:spPr>
          <p:txBody>
            <a:bodyPr/>
            <a:lstStyle/>
            <a:p>
              <a:endParaRPr lang="en-US" dirty="0"/>
            </a:p>
          </p:txBody>
        </p: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0303CCE9-7BA2-32FB-A4ED-F166844A1BD6}"/>
                </a:ext>
              </a:extLst>
            </p:cNvPr>
            <p:cNvGrpSpPr/>
            <p:nvPr/>
          </p:nvGrpSpPr>
          <p:grpSpPr>
            <a:xfrm>
              <a:off x="341060" y="421639"/>
              <a:ext cx="6857082" cy="1366697"/>
              <a:chOff x="341060" y="421639"/>
              <a:chExt cx="6857082" cy="1366697"/>
            </a:xfrm>
          </p:grpSpPr>
          <p:grpSp>
            <p:nvGrpSpPr>
              <p:cNvPr id="53" name="Group 52">
                <a:extLst>
                  <a:ext uri="{FF2B5EF4-FFF2-40B4-BE49-F238E27FC236}">
                    <a16:creationId xmlns:a16="http://schemas.microsoft.com/office/drawing/2014/main" id="{4558D830-D3FC-079B-3241-5CDF3E5FA058}"/>
                  </a:ext>
                </a:extLst>
              </p:cNvPr>
              <p:cNvGrpSpPr/>
              <p:nvPr/>
            </p:nvGrpSpPr>
            <p:grpSpPr>
              <a:xfrm>
                <a:off x="341060" y="421639"/>
                <a:ext cx="6607494" cy="905325"/>
                <a:chOff x="341060" y="421639"/>
                <a:chExt cx="6607494" cy="905325"/>
              </a:xfrm>
            </p:grpSpPr>
            <p:sp>
              <p:nvSpPr>
                <p:cNvPr id="4" name="Freeform 4"/>
                <p:cNvSpPr/>
                <p:nvPr/>
              </p:nvSpPr>
              <p:spPr>
                <a:xfrm>
                  <a:off x="6248402" y="505267"/>
                  <a:ext cx="614882" cy="6148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812800" h="812800">
                      <a:moveTo>
                        <a:pt x="406400" y="0"/>
                      </a:moveTo>
                      <a:cubicBezTo>
                        <a:pt x="181951" y="0"/>
                        <a:pt x="0" y="181951"/>
                        <a:pt x="0" y="406400"/>
                      </a:cubicBezTo>
                      <a:cubicBezTo>
                        <a:pt x="0" y="630849"/>
                        <a:pt x="181951" y="812800"/>
                        <a:pt x="406400" y="812800"/>
                      </a:cubicBezTo>
                      <a:cubicBezTo>
                        <a:pt x="630849" y="812800"/>
                        <a:pt x="812800" y="630849"/>
                        <a:pt x="812800" y="406400"/>
                      </a:cubicBezTo>
                      <a:cubicBezTo>
                        <a:pt x="812800" y="181951"/>
                        <a:pt x="630849" y="0"/>
                        <a:pt x="406400" y="0"/>
                      </a:cubicBezTo>
                      <a:close/>
                    </a:path>
                  </a:pathLst>
                </a:custGeom>
                <a:solidFill>
                  <a:srgbClr val="FFF5B2">
                    <a:alpha val="69804"/>
                  </a:srgbClr>
                </a:solid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6" name="Freeform 6"/>
                <p:cNvSpPr/>
                <p:nvPr/>
              </p:nvSpPr>
              <p:spPr>
                <a:xfrm>
                  <a:off x="5675484" y="523424"/>
                  <a:ext cx="1011320" cy="803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11320" h="803540">
                      <a:moveTo>
                        <a:pt x="0" y="0"/>
                      </a:moveTo>
                      <a:lnTo>
                        <a:pt x="1011320" y="0"/>
                      </a:lnTo>
                      <a:lnTo>
                        <a:pt x="1011320" y="803540"/>
                      </a:lnTo>
                      <a:lnTo>
                        <a:pt x="0" y="803540"/>
                      </a:lnTo>
                      <a:lnTo>
                        <a:pt x="0" y="0"/>
                      </a:lnTo>
                      <a:close/>
                    </a:path>
                  </a:pathLst>
                </a:custGeom>
                <a:blipFill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  <a:stretch>
                    <a:fillRect/>
                  </a:stretch>
                </a:blipFill>
              </p:spPr>
              <p:txBody>
                <a:bodyPr/>
                <a:lstStyle/>
                <a:p>
                  <a:endParaRPr lang="en-US" dirty="0"/>
                </a:p>
              </p:txBody>
            </p:sp>
            <p:sp>
              <p:nvSpPr>
                <p:cNvPr id="7" name="TextBox 7"/>
                <p:cNvSpPr txBox="1"/>
                <p:nvPr/>
              </p:nvSpPr>
              <p:spPr>
                <a:xfrm>
                  <a:off x="341060" y="498681"/>
                  <a:ext cx="4308641" cy="67223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>
                    <a:lnSpc>
                      <a:spcPts val="5146"/>
                    </a:lnSpc>
                  </a:pPr>
                  <a:r>
                    <a:rPr lang="en-US" sz="5700" spc="-297" dirty="0">
                      <a:solidFill>
                        <a:srgbClr val="FFF5B2"/>
                      </a:solidFill>
                      <a:latin typeface="Fraunces 9pt Soft SemiBold" pitchFamily="2" charset="0"/>
                    </a:rPr>
                    <a:t>Taco potluck</a:t>
                  </a:r>
                </a:p>
              </p:txBody>
            </p:sp>
            <p:sp>
              <p:nvSpPr>
                <p:cNvPr id="36" name="TextBox 36"/>
                <p:cNvSpPr txBox="1"/>
                <p:nvPr/>
              </p:nvSpPr>
              <p:spPr>
                <a:xfrm rot="2197602">
                  <a:off x="6195018" y="421639"/>
                  <a:ext cx="753536" cy="75631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prstTxWarp prst="textArchUp">
                    <a:avLst/>
                  </a:prstTxWarp>
                  <a:spAutoFit/>
                </a:bodyPr>
                <a:lstStyle/>
                <a:p>
                  <a:pPr marL="0" lvl="0" indent="0" algn="ctr">
                    <a:lnSpc>
                      <a:spcPts val="1227"/>
                    </a:lnSpc>
                    <a:spcBef>
                      <a:spcPct val="0"/>
                    </a:spcBef>
                  </a:pPr>
                  <a:r>
                    <a:rPr lang="en-US" sz="900" dirty="0">
                      <a:solidFill>
                        <a:srgbClr val="FFF5B2">
                          <a:alpha val="80000"/>
                        </a:srgbClr>
                      </a:solidFill>
                      <a:latin typeface="DM Sans"/>
                    </a:rPr>
                    <a:t>SIGN UP SHEET</a:t>
                  </a:r>
                </a:p>
              </p:txBody>
            </p:sp>
          </p:grpSp>
          <p:grpSp>
            <p:nvGrpSpPr>
              <p:cNvPr id="52" name="Group 51">
                <a:extLst>
                  <a:ext uri="{FF2B5EF4-FFF2-40B4-BE49-F238E27FC236}">
                    <a16:creationId xmlns:a16="http://schemas.microsoft.com/office/drawing/2014/main" id="{CFB6A8E4-73A3-F4B8-930C-82A0BB7A2A38}"/>
                  </a:ext>
                </a:extLst>
              </p:cNvPr>
              <p:cNvGrpSpPr/>
              <p:nvPr/>
            </p:nvGrpSpPr>
            <p:grpSpPr>
              <a:xfrm>
                <a:off x="361859" y="1504803"/>
                <a:ext cx="6836283" cy="283533"/>
                <a:chOff x="361859" y="1504803"/>
                <a:chExt cx="6836283" cy="283533"/>
              </a:xfrm>
            </p:grpSpPr>
            <p:sp>
              <p:nvSpPr>
                <p:cNvPr id="38" name="TextBox 38"/>
                <p:cNvSpPr txBox="1"/>
                <p:nvPr/>
              </p:nvSpPr>
              <p:spPr>
                <a:xfrm>
                  <a:off x="361859" y="1504803"/>
                  <a:ext cx="651553" cy="17126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dirty="0">
                      <a:solidFill>
                        <a:srgbClr val="FFF5B2"/>
                      </a:solidFill>
                      <a:latin typeface="DM Sans SemiBold" pitchFamily="2" charset="0"/>
                    </a:rPr>
                    <a:t>TIME</a:t>
                  </a:r>
                </a:p>
              </p:txBody>
            </p:sp>
            <p:sp>
              <p:nvSpPr>
                <p:cNvPr id="39" name="TextBox 39"/>
                <p:cNvSpPr txBox="1"/>
                <p:nvPr/>
              </p:nvSpPr>
              <p:spPr>
                <a:xfrm>
                  <a:off x="361859" y="1653234"/>
                  <a:ext cx="651553" cy="13510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FFF5B2">
                          <a:alpha val="80000"/>
                        </a:srgbClr>
                      </a:solidFill>
                      <a:latin typeface="DM Sans"/>
                    </a:rPr>
                    <a:t>9 A.M – 3 P.M</a:t>
                  </a:r>
                </a:p>
              </p:txBody>
            </p:sp>
            <p:sp>
              <p:nvSpPr>
                <p:cNvPr id="40" name="TextBox 40"/>
                <p:cNvSpPr txBox="1"/>
                <p:nvPr/>
              </p:nvSpPr>
              <p:spPr>
                <a:xfrm>
                  <a:off x="1288694" y="1504803"/>
                  <a:ext cx="1200447" cy="17126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dirty="0">
                      <a:solidFill>
                        <a:srgbClr val="FFF5B2"/>
                      </a:solidFill>
                      <a:latin typeface="DM Sans SemiBold" pitchFamily="2" charset="0"/>
                    </a:rPr>
                    <a:t>DATE</a:t>
                  </a:r>
                </a:p>
              </p:txBody>
            </p:sp>
            <p:sp>
              <p:nvSpPr>
                <p:cNvPr id="41" name="TextBox 41"/>
                <p:cNvSpPr txBox="1"/>
                <p:nvPr/>
              </p:nvSpPr>
              <p:spPr>
                <a:xfrm>
                  <a:off x="1288694" y="1653234"/>
                  <a:ext cx="1254818" cy="1273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u="none" strike="noStrike" dirty="0">
                      <a:solidFill>
                        <a:srgbClr val="FFF5B2">
                          <a:alpha val="80000"/>
                        </a:srgbClr>
                      </a:solidFill>
                      <a:latin typeface="DM Sans"/>
                    </a:rPr>
                    <a:t>Saturday, April 13th, 2024</a:t>
                  </a:r>
                </a:p>
              </p:txBody>
            </p:sp>
            <p:sp>
              <p:nvSpPr>
                <p:cNvPr id="42" name="TextBox 42"/>
                <p:cNvSpPr txBox="1"/>
                <p:nvPr/>
              </p:nvSpPr>
              <p:spPr>
                <a:xfrm>
                  <a:off x="2768764" y="1653234"/>
                  <a:ext cx="2628113" cy="127318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u="none" strike="noStrike" dirty="0">
                      <a:solidFill>
                        <a:srgbClr val="FFF5B2">
                          <a:alpha val="80000"/>
                        </a:srgbClr>
                      </a:solidFill>
                      <a:latin typeface="DM Sans"/>
                    </a:rPr>
                    <a:t>Smith Family Residence, 123 Main Street, Anytown, USA</a:t>
                  </a:r>
                </a:p>
              </p:txBody>
            </p:sp>
            <p:sp>
              <p:nvSpPr>
                <p:cNvPr id="43" name="TextBox 43"/>
                <p:cNvSpPr txBox="1"/>
                <p:nvPr/>
              </p:nvSpPr>
              <p:spPr>
                <a:xfrm>
                  <a:off x="2768764" y="1504803"/>
                  <a:ext cx="1649320" cy="17126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u="none" strike="noStrike" dirty="0">
                      <a:solidFill>
                        <a:srgbClr val="FFF5B2"/>
                      </a:solidFill>
                      <a:latin typeface="DM Sans SemiBold" pitchFamily="2" charset="0"/>
                    </a:rPr>
                    <a:t>LOCATION</a:t>
                  </a:r>
                </a:p>
              </p:txBody>
            </p:sp>
            <p:sp>
              <p:nvSpPr>
                <p:cNvPr id="44" name="TextBox 44"/>
                <p:cNvSpPr txBox="1"/>
                <p:nvPr/>
              </p:nvSpPr>
              <p:spPr>
                <a:xfrm>
                  <a:off x="5603081" y="1653234"/>
                  <a:ext cx="1595061" cy="135102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120"/>
                    </a:lnSpc>
                    <a:spcBef>
                      <a:spcPct val="0"/>
                    </a:spcBef>
                  </a:pPr>
                  <a:r>
                    <a:rPr lang="en-US" sz="800" dirty="0">
                      <a:solidFill>
                        <a:srgbClr val="FFF5B2">
                          <a:alpha val="80000"/>
                        </a:srgbClr>
                      </a:solidFill>
                      <a:latin typeface="DM Sans"/>
                    </a:rPr>
                    <a:t>Jennifer Smith</a:t>
                  </a:r>
                  <a:r>
                    <a:rPr lang="en-US" sz="800" dirty="0">
                      <a:solidFill>
                        <a:srgbClr val="FFF5B2">
                          <a:alpha val="80000"/>
                        </a:srgbClr>
                      </a:solidFill>
                      <a:latin typeface="DM Sans Bold"/>
                    </a:rPr>
                    <a:t> </a:t>
                  </a:r>
                  <a:r>
                    <a:rPr lang="en-US" sz="800" b="1" dirty="0">
                      <a:solidFill>
                        <a:srgbClr val="FFF5B2">
                          <a:alpha val="80000"/>
                        </a:srgbClr>
                      </a:solidFill>
                      <a:latin typeface="DM Sans" pitchFamily="2" charset="0"/>
                    </a:rPr>
                    <a:t>| +123-456-7890</a:t>
                  </a:r>
                </a:p>
              </p:txBody>
            </p:sp>
            <p:sp>
              <p:nvSpPr>
                <p:cNvPr id="45" name="TextBox 45"/>
                <p:cNvSpPr txBox="1"/>
                <p:nvPr/>
              </p:nvSpPr>
              <p:spPr>
                <a:xfrm>
                  <a:off x="5603081" y="1504803"/>
                  <a:ext cx="1001009" cy="171265"/>
                </a:xfrm>
                <a:prstGeom prst="rect">
                  <a:avLst/>
                </a:prstGeom>
              </p:spPr>
              <p:txBody>
                <a:bodyPr lIns="0" tIns="0" rIns="0" bIns="0" rtlCol="0" anchor="t">
                  <a:spAutoFit/>
                </a:bodyPr>
                <a:lstStyle/>
                <a:p>
                  <a:pPr marL="0" lvl="0" indent="0" algn="l">
                    <a:lnSpc>
                      <a:spcPts val="1399"/>
                    </a:lnSpc>
                    <a:spcBef>
                      <a:spcPct val="0"/>
                    </a:spcBef>
                  </a:pPr>
                  <a:r>
                    <a:rPr lang="en-US" sz="999" dirty="0">
                      <a:solidFill>
                        <a:srgbClr val="FFF5B2"/>
                      </a:solidFill>
                      <a:latin typeface="DM Sans SemiBold" pitchFamily="2" charset="0"/>
                    </a:rPr>
                    <a:t>HOST</a:t>
                  </a:r>
                </a:p>
              </p:txBody>
            </p:sp>
          </p:grpSp>
        </p:grpSp>
        <p:sp>
          <p:nvSpPr>
            <p:cNvPr id="46" name="TemplateLAB"/>
            <p:cNvSpPr/>
            <p:nvPr/>
          </p:nvSpPr>
          <p:spPr>
            <a:xfrm rot="-5400000">
              <a:off x="7079828" y="10020265"/>
              <a:ext cx="564680" cy="93172"/>
            </a:xfrm>
            <a:custGeom>
              <a:avLst/>
              <a:gdLst/>
              <a:ahLst/>
              <a:cxnLst/>
              <a:rect l="l" t="t" r="r" b="b"/>
              <a:pathLst>
                <a:path w="564680" h="93172">
                  <a:moveTo>
                    <a:pt x="0" y="0"/>
                  </a:moveTo>
                  <a:lnTo>
                    <a:pt x="564680" y="0"/>
                  </a:lnTo>
                  <a:lnTo>
                    <a:pt x="564680" y="93172"/>
                  </a:lnTo>
                  <a:lnTo>
                    <a:pt x="0" y="93172"/>
                  </a:lnTo>
                  <a:lnTo>
                    <a:pt x="0" y="0"/>
                  </a:lnTo>
                  <a:close/>
                </a:path>
              </a:pathLst>
            </a:custGeom>
            <a:blipFill>
              <a:blip r:embed="rId5">
                <a:alphaModFix amt="80000"/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a:blipFill>
          </p:spPr>
          <p:txBody>
            <a:bodyPr/>
            <a:lstStyle/>
            <a:p>
              <a:endParaRPr lang="en-US" dirty="0"/>
            </a:p>
          </p:txBody>
        </p:sp>
      </p:grpSp>
    </p:spTree>
    <p:custDataLst>
      <p:tags r:id="rId1"/>
    </p:custData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9</TotalTime>
  <Words>46</Words>
  <Application>Microsoft Office PowerPoint</Application>
  <PresentationFormat>Custom</PresentationFormat>
  <Paragraphs>14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DM Sans SemiBold</vt:lpstr>
      <vt:lpstr>Arial</vt:lpstr>
      <vt:lpstr>DM Sans</vt:lpstr>
      <vt:lpstr>DM Sans Bold</vt:lpstr>
      <vt:lpstr>Calibri</vt:lpstr>
      <vt:lpstr>Fraunces 9pt Soft SemiBold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ICK of Potluck sign up sheet 2</dc:title>
  <dc:creator>Hoang Anh</dc:creator>
  <cp:lastModifiedBy>Hoang Anh</cp:lastModifiedBy>
  <cp:revision>18</cp:revision>
  <dcterms:created xsi:type="dcterms:W3CDTF">2006-08-16T00:00:00Z</dcterms:created>
  <dcterms:modified xsi:type="dcterms:W3CDTF">2024-03-28T17:01:56Z</dcterms:modified>
  <dc:identifier>DAGAx8seEGM</dc:identifier>
</cp:coreProperties>
</file>